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311" r:id="rId2"/>
    <p:sldId id="402" r:id="rId3"/>
    <p:sldId id="403" r:id="rId4"/>
    <p:sldId id="404" r:id="rId5"/>
    <p:sldId id="405" r:id="rId6"/>
    <p:sldId id="406" r:id="rId7"/>
    <p:sldId id="407" r:id="rId8"/>
    <p:sldId id="408" r:id="rId9"/>
    <p:sldId id="409" r:id="rId10"/>
    <p:sldId id="410" r:id="rId11"/>
    <p:sldId id="414" r:id="rId12"/>
    <p:sldId id="314" r:id="rId13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jpe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Applications of Differentiation</a:t>
            </a:r>
            <a:br>
              <a:rPr lang="en-US" dirty="0" smtClean="0"/>
            </a:br>
            <a:r>
              <a:rPr lang="en-US" dirty="0" smtClean="0"/>
              <a:t>Implicit Differenti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Chain Rule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near Approximation</a:t>
            </a:r>
          </a:p>
        </p:txBody>
      </p:sp>
      <p:sp>
        <p:nvSpPr>
          <p:cNvPr id="12" name="Rechteck 11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’Hospital’s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Rules &amp; Indeterminate Form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Applications of</a:t>
            </a:r>
          </a:p>
          <a:p>
            <a:pPr algn="ctr"/>
            <a:r>
              <a:rPr lang="en-US" sz="1000" dirty="0" smtClean="0"/>
              <a:t>Differentiation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Implicit Differenti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implicit differenti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2" y="1203596"/>
            <a:ext cx="5373784" cy="3624028"/>
          </a:xfrm>
          <a:prstGeom prst="rect">
            <a:avLst/>
          </a:prstGeom>
          <a:noFill/>
          <a:ln/>
          <a:effectLst/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2140869" cy="2232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feld 12"/>
          <p:cNvSpPr txBox="1"/>
          <p:nvPr/>
        </p:nvSpPr>
        <p:spPr>
          <a:xfrm>
            <a:off x="1026512" y="1457722"/>
            <a:ext cx="104387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(2.5198, 3.1748)</a:t>
            </a:r>
            <a:endParaRPr lang="en-US" sz="1000" dirty="0"/>
          </a:p>
        </p:txBody>
      </p:sp>
      <p:cxnSp>
        <p:nvCxnSpPr>
          <p:cNvPr id="15" name="Gerade Verbindung 14"/>
          <p:cNvCxnSpPr/>
          <p:nvPr/>
        </p:nvCxnSpPr>
        <p:spPr>
          <a:xfrm>
            <a:off x="1540044" y="1779662"/>
            <a:ext cx="0" cy="136815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>
            <a:stCxn id="13" idx="2"/>
          </p:cNvCxnSpPr>
          <p:nvPr/>
        </p:nvCxnSpPr>
        <p:spPr>
          <a:xfrm flipH="1">
            <a:off x="395536" y="1703943"/>
            <a:ext cx="108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further examples of curves due to implicit functions (root manifolds)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 cstate="print"/>
          <a:srcRect b="25481"/>
          <a:stretch>
            <a:fillRect/>
          </a:stretch>
        </p:blipFill>
        <p:spPr bwMode="auto">
          <a:xfrm>
            <a:off x="300668" y="1074822"/>
            <a:ext cx="8557688" cy="2361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/>
          <a:srcRect t="83202"/>
          <a:stretch>
            <a:fillRect/>
          </a:stretch>
        </p:blipFill>
        <p:spPr bwMode="auto">
          <a:xfrm>
            <a:off x="300668" y="3435846"/>
            <a:ext cx="8557688" cy="532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ften two variables are connected by means of a relation such that one of them can be considered as an implicit function of the othe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2"/>
            <a:ext cx="7067075" cy="275394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such cases the implicit function can be resolved as a set of well-defined functions …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8760" y="1074822"/>
            <a:ext cx="5919963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3147814"/>
            <a:ext cx="7200800" cy="187220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219805"/>
            <a:ext cx="7065310" cy="168845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though, this can sometimes be quite cumbersome, like in the case of the folium of Descartes</a:t>
            </a:r>
            <a:endParaRPr lang="en-US" dirty="0"/>
          </a:p>
        </p:txBody>
      </p:sp>
      <p:pic>
        <p:nvPicPr>
          <p:cNvPr id="3" name="Picture 2 1"/>
          <p:cNvPicPr>
            <a:picLocks noChangeAspect="1" noChangeArrowheads="1"/>
          </p:cNvPicPr>
          <p:nvPr/>
        </p:nvPicPr>
        <p:blipFill>
          <a:blip r:embed="rId3" cstate="print"/>
          <a:srcRect r="77196"/>
          <a:stretch>
            <a:fillRect/>
          </a:stretch>
        </p:blipFill>
        <p:spPr bwMode="auto">
          <a:xfrm>
            <a:off x="144840" y="2648135"/>
            <a:ext cx="2380456" cy="2315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18" name="Picture 2 2" descr="descartes stamp | the zero vector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139593" cy="1359025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>
          <a:xfrm>
            <a:off x="251520" y="2499742"/>
            <a:ext cx="83708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Albanian stamp</a:t>
            </a:r>
            <a:endParaRPr lang="en-US" sz="800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9" y="1203596"/>
            <a:ext cx="5384773" cy="332869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 the other hand implicit differentiation works in a straightforward way to obtain the derivative of an implicit function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0560" y="1010434"/>
            <a:ext cx="8013895" cy="1777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2931790"/>
            <a:ext cx="7200800" cy="20882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003780"/>
            <a:ext cx="7067669" cy="188247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implicit differenti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8"/>
            <a:ext cx="6852694" cy="344746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implicit differenti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7"/>
            <a:ext cx="5590231" cy="2809644"/>
          </a:xfrm>
          <a:prstGeom prst="rect">
            <a:avLst/>
          </a:prstGeom>
          <a:noFill/>
          <a:ln/>
          <a:effectLst/>
        </p:spPr>
      </p:pic>
      <p:cxnSp>
        <p:nvCxnSpPr>
          <p:cNvPr id="14" name="Gerade Verbindung 13"/>
          <p:cNvCxnSpPr/>
          <p:nvPr/>
        </p:nvCxnSpPr>
        <p:spPr>
          <a:xfrm>
            <a:off x="3851920" y="1779662"/>
            <a:ext cx="2880320" cy="0"/>
          </a:xfrm>
          <a:prstGeom prst="lin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implicit differenti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7070056" cy="377455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implicit differenti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2" y="1203596"/>
            <a:ext cx="5372889" cy="2208378"/>
          </a:xfrm>
          <a:prstGeom prst="rect">
            <a:avLst/>
          </a:prstGeom>
          <a:noFill/>
          <a:ln/>
          <a:effectLst/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7504" y="1002814"/>
            <a:ext cx="2428903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82,04"/>
  <p:tag name="ORIGINALWIDTH" val="4494,188"/>
  <p:tag name="LATEXADDIN" val="\documentclass{article}\pagestyle{empty}&#10;\usepackage{amsmath}&#10;\usepackage{amsfonts}&#10;\usepackage{amssymb}&#10;\begin{document}&#10;\begin{minipage}{12.7 cm}&#10;{\sffamily{&#10;The functions that we have met so far can be described by expressing one variable explicitly&#10;in terms of another variable -- for example,&#10;$$&#10;y \, \, = \, \, \sqrt{x^3 + 1} \qquad \text{or} \qquad y \, \, = \, \, x \cdot \sin(x)&#10;$$&#10;or, in general, $y = f(x)$. Some functions, however, are defined implicitly by a relation&#10;between $x$ and $y$ such as&#10;$$&#10;x^2 \, + \, y^2 \, \, = \, \, 25 \qquad \text{or} \qquad x^3 \, + \, y^3 \, \, = \, \, 6 xy \, . &#10;$$&#10;In some cases it is possible to solve such an equation for $y$ as an explicit function (or&#10;several functions) of $x$.&#10;}}&#10;\end{minipage}&#10;\end{document}"/>
  <p:tag name="IGUANATEXSIZE" val="20"/>
  <p:tag name="IGUANATEXCURSOR" val="7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31,121"/>
  <p:tag name="ORIGINALWIDTH" val="4491,939"/>
  <p:tag name="LATEXADDIN" val="\documentclass{article}\pagestyle{empty}&#10;\usepackage{amsmath}&#10;\usepackage{amsfonts}&#10;\usepackage{amssymb}&#10;\begin{document}&#10;\begin{minipage}{12.7 cm}&#10;{\sffamily{&#10;For instance, if we solve $x^2 + y^2 = 25$ for $y$, we get $y = \pm \sqrt{25-x^2}$,&#10;so two of the functions determined by this implicit equation are &#10;\begin{itemize}&#10;\item $f(x) = \sqrt{25-x^2}$ and&#10;\item $g(x) = -\sqrt{25-x^2}$.&#10;\end{itemize}&#10;The graphs of $f$ and $g$ are the upper and lower semicircles of the circle $x^2 + y^2 = 25$.}}&#10;\end{minipage}&#10;\end{document}"/>
  <p:tag name="IGUANATEXSIZE" val="20"/>
  <p:tag name="IGUANATEXCURSOR" val="374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1,241"/>
  <p:tag name="ORIGINALWIDTH" val="3445,07"/>
  <p:tag name="LATEXADDIN" val="\documentclass{article}\pagestyle{empty}&#10;\usepackage{amsmath}&#10;\usepackage{amsfonts}&#10;\usepackage{amssymb}&#10;\begin{document}&#10;\begin{minipage}{9.7 cm}&#10;{\sffamily{&#10;It's not easy to solve Equation&#10;$$&#10;x^3 \, + \, y^3 \, \, = \, \, 6xy&#10;$$&#10;for $y$ explicitly as a function of $x$ by hand.\\[2mm]&#10;Nonetheless, it is the equation of a curve called the {\bf{folium of Descartes}} shown and it implicitly defines $y$ as several functions of $x$. The graphs of three such functions are shown in the figure at the next slide.\\[2mm]&#10;When we say that $f$ is a function defined implicitly, we mean that the equation&#10;$$&#10;x^3 \, + \, (f(x))^3 \, \, = \, \, 6x f(x)&#10;$$&#10;is true for all values of $x$ in the domain of $f$.}}&#10;\end{minipage}&#10;\end{document}"/>
  <p:tag name="IGUANATEXSIZE" val="20"/>
  <p:tag name="IGUANATEXCURSOR" val="2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49,606"/>
  <p:tag name="ORIGINALWIDTH" val="4493,438"/>
  <p:tag name="LATEXADDIN" val="\documentclass{article}\pagestyle{empty}&#10;\usepackage{amsmath}&#10;\usepackage{amsfonts}&#10;\usepackage{amssymb}&#10;\begin{document}&#10;\begin{minipage}{12.7 cm}&#10;{\sffamily{&#10;Fortunately, we don't need to solve an equation for $y$ in terms of $x$ in order to find the&#10;derivative of $y$. Instead we can use the method of {\bf{implicit differentiation}}.\\[2mm]&#10;{\bf{This consists of differentiating both sides of the equation with respect to $x$ and then solving the resulting&#10;equation for $y'$}}.\\[2mm]&#10;In the proceeding examples and exercises it is always assumed that the given equation determines $y$ implicitly as a differentiable function of $x$ so that the&#10;method of implicit differentiation can be applied.}}&#10;\end{minipage}&#10;\end{document}"/>
  <p:tag name="IGUANATEXSIZE" val="20"/>
  <p:tag name="IGUANATEXCURSOR" val="3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0,488"/>
  <p:tag name="ORIGINALWIDTH" val="4351,707"/>
  <p:tag name="LATEXADDIN" val="\documentclass{article}\pagestyle{empty}&#10;\usepackage{amsmath}&#10;\usepackage{amsfonts}&#10;\usepackage{amssymb}&#10;\begin{document}&#10;\begin{minipage}{12.7 cm}&#10;{\sffamily{&#10;{\bf{Example:}} Consider the circle $x^2 + y^2 = 25$.&#10;\begin{enumerate}&#10;\item[{\bf{a)}}] Determine $y' = \frac{\textrm{d} \, y}{\textrm{d} \, x}$.&#10;\item[{\bf{b)}}] Find an equation of the tangent line to the circle at the point $(3,4)$. &#10;\end{enumerate}&#10;{\bf{Solution:}}\\[1mm]&#10;{\bf{a)}} We differentiate both sides of the equation $x^2 + (y(x))^2 = 25$ with respect to $x$:&#10;$$&#10;\frac{\textrm{d}}{\textrm{d} \, x} \left( x^2 + (y(x))^2 \right)\, \, = \, \, \frac{\textrm{d}}{\textrm{d} \, x} \, 25&#10;\quad \Longrightarrow \quad 2x \, + \, 2y(x) \cdot y'(x) \, \, = \, \, 0 \, ,&#10;$$&#10;due to the Chain Rule. Hence&#10;$$&#10;y' \, \, = \, \, y'(x) \, \, = \, \, \frac{\textrm{d} \, y}{\textrm{d} \, x} \, \, = \, \, -\frac{x}{y} \, .&#10;$$&#10;}}&#10;\end{minipage}&#10;\end{document}"/>
  <p:tag name="IGUANATEXSIZE" val="20"/>
  <p:tag name="IGUANATEXCURSOR" val="7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09,786"/>
  <p:tag name="ORIGINALWIDTH" val="3547,807"/>
  <p:tag name="LATEXADDIN" val="\documentclass{article}\pagestyle{empty}&#10;\usepackage{amsmath}&#10;\usepackage{amsfonts}&#10;\usepackage{amssymb}&#10;\begin{document}&#10;\begin{minipage}{12.7 cm}&#10;{\sffamily{&#10;$$&#10;y' \, \, = \, \, \frac{\textrm{d}}{\textrm{d} \, x} \, \, = \, \, -\frac{x}{y}&#10;$$&#10;&#10;\vspace{0.5cm}&#10;{\bf{b)}} At the point $(3,4)$ we have $x=3$ and $y=4$, so&#10;$$&#10;\frac{\textrm{d}}{\textrm{d} \, x} \, \, = \, \, -\frac{3}{4} \, .&#10;$$&#10;An equation of the tangent to the circle at $(3,4)$ is therefore&#10;$$&#10;y \, - \, 4 \, \, = \, \, -\frac{3}{4} (x - 3) \qquad \text{or} \qquad 3x \, + \, 4y \, \, = \, \, 25 \, .&#10;$$&#10;}}&#10;\end{minipage}&#10;\end{document}"/>
  <p:tag name="IGUANATEXSIZE" val="20"/>
  <p:tag name="IGUANATEXCURSOR" val="1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6,963"/>
  <p:tag name="ORIGINALWIDTH" val="4486,689"/>
  <p:tag name="LATEXADDIN" val="\documentclass{article}\pagestyle{empty}&#10;\usepackage{amsmath}&#10;\usepackage{amsfonts}&#10;\usepackage{amssymb}&#10;\begin{document}&#10;\begin{minipage}{12.7 cm}&#10;{\sffamily{&#10;{\bf{Example:}} Consider the folium of Descartes $x^3 + y^3 = 6xy$.&#10;\begin{enumerate}&#10;\item[{\bf{a)}}] Determine $y' = \frac{\textrm{d} \, y}{\textrm{d} \, x}$.&#10;\item[{\bf{b)}}] Find an equation of the tangent line to the folium of Descartes at the point $(3,3)$.&#10;\item[{\bf{c)}}] At what point in the first quadrant is the tangent line horizontal?&#10;\end{enumerate}&#10;{\bf{Solution:}}\\[1mm]&#10;{\bf{a)}} Differentiating both sides of $x^3 + y^3 = 6xy$ with respect to $x$, regarding $y = y(x)$ as a&#10;function of $x$, and using the Chain Rule on the term $y^3$ and the Product Rule on the term $6xy$, we get&#10;\begin{eqnarray*}&#10;3 x^2 \, + \, 3 y^2 \cdot y' \, \, = \, \, 6y \, + \, 6x \cdot y'&#10;&amp; \quad \Longrightarrow \quad &amp;&#10;x^2 \, + \, y^2 \cdot y' \, \, = \, \, 2y \, + \, 2x \cdot y' \\[2mm]&#10;&amp; \quad \Longrightarrow \quad &amp;&#10;y' \, \, = \, \, \frac{2y - x^2}{y^2 - 2x} \, .&#10;\end{eqnarray*}&#10;}}&#10;\end{minipage}&#10;\end{document}"/>
  <p:tag name="IGUANATEXSIZE" val="20"/>
  <p:tag name="IGUANATEXCURSOR" val="10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70,829"/>
  <p:tag name="ORIGINALWIDTH" val="3431,571"/>
  <p:tag name="LATEXADDIN" val="\documentclass{article}\pagestyle{empty}&#10;\usepackage{amsmath}&#10;\usepackage{amsfonts}&#10;\usepackage{amssymb}&#10;\begin{document}&#10;\begin{minipage}{9.7 cm}&#10;{\sffamily{&#10;{\bf{b)}} When $x = y = 3$,&#10;$$&#10;y' \, \, = \, \, \frac{2 \cdot 3 - 3^2}{3^2 - 2 \cdot 3} \, \, = \, \, -1&#10;$$&#10;and a glance at the figure on the left-hand side confirms that this is a reasonable value for the slope at $(3,3)$ So an equation of the tangent to the folium at $(3,3)$ is&#10;$$&#10;y \, - \, 3 \, \, = \, \, -1 \cdot (x-3) \qquad \text{or} \qquad x \, + \, y \, \, = \, \, 6 \, .&#10;$$&#10;}}&#10;\end{minipage}&#10;\end{document}"/>
  <p:tag name="IGUANATEXSIZE" val="20"/>
  <p:tag name="IGUANATEXCURSOR" val="5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48,219"/>
  <p:tag name="ORIGINALWIDTH" val="3431,571"/>
  <p:tag name="LATEXADDIN" val="\documentclass{article}\pagestyle{empty}&#10;\usepackage{amsmath}&#10;\usepackage{amsfonts}&#10;\usepackage{amssymb}&#10;\begin{document}&#10;\begin{minipage}{9.7 cm}&#10;{\sffamily{&#10;{\bf{c)}} The tangent line is horizontal if $y' = 0$. Using the expression for $y'$ from part {\bf{a)}},&#10;$$&#10;y' \, \, = \, \ \frac{2y - x^2}{y^2 - 2 x} \, \, \stackrel{!}{=} \, \, 0 \quad \Longrightarrow \quad&#10;2y - x^2 \, \, \stackrel{!}{=} \, \, 0 \, ,&#10;$$&#10;we see that $y' = 0$ when $2 y - x^2 = 0$ (provided that $y^2 - 2x \neq 0$). Substituting $y = \tfrac{1}{2} x^2$&#10;in the equation of the curve, we get&#10;$$&#10;x^3 \, + \, \left( \tfrac{1}{2} x^2 \right)^3 \, \, = \, \, 6x \left( \tfrac{1}{2} x^2 \right)&#10;$$&#10;which simplifies to $x^6 = 16 x^3$. Since $x \neq 0$ in the first quadrant, we have $x^3 = 16$.\\[2mm]&#10;If $x = 16^{1/3} = 2^{4/3}$, then $y = \tfrac{1}{2} (2^{8/3}) = 2^{5/3}$. Thus the tangent is horizontal at $(2^{4/3}, 2^{5/3})$,&#10;which is approximately $(2.5198, 3.1748)$.&#10;}}&#10;\end{minipage}&#10;\end{document}"/>
  <p:tag name="IGUANATEXSIZE" val="20"/>
  <p:tag name="IGUANATEXCURSOR" val="9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2</Words>
  <Application>Microsoft Office PowerPoint</Application>
  <PresentationFormat>Bildschirmpräsentation (16:9)</PresentationFormat>
  <Paragraphs>23</Paragraphs>
  <Slides>12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3" baseType="lpstr">
      <vt:lpstr>Larissa-Design</vt:lpstr>
      <vt:lpstr>Calculus I for MGMT – Applications of Differentiation Implicit Differentiation</vt:lpstr>
      <vt:lpstr>Often two variables are connected by means of a relation such that one of them can be considered as an implicit function of the other</vt:lpstr>
      <vt:lpstr>In such cases the implicit function can be resolved as a set of well-defined functions …</vt:lpstr>
      <vt:lpstr>… though, this can sometimes be quite cumbersome, like in the case of the folium of Descartes</vt:lpstr>
      <vt:lpstr>On the other hand implicit differentiation works in a straightforward way to obtain the derivative of an implicit function</vt:lpstr>
      <vt:lpstr>Example: Application of implicit differentiation</vt:lpstr>
      <vt:lpstr>Example: Application of implicit differentiation</vt:lpstr>
      <vt:lpstr>Example: Application of implicit differentiation</vt:lpstr>
      <vt:lpstr>Example: Application of implicit differentiation</vt:lpstr>
      <vt:lpstr>Example: Application of implicit differentiation</vt:lpstr>
      <vt:lpstr>Some further examples of curves due to implicit functions (root manifolds)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1</cp:revision>
  <dcterms:created xsi:type="dcterms:W3CDTF">2020-04-04T18:50:50Z</dcterms:created>
  <dcterms:modified xsi:type="dcterms:W3CDTF">2022-10-04T20:36:40Z</dcterms:modified>
</cp:coreProperties>
</file>